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4EB433-4E08-4533-939C-B516DB27A75A}" v="4" dt="2024-09-06T08:56:23.9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64" d="100"/>
          <a:sy n="64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replTag">
      <pc:chgData name="vonWaldow, Ulrich" userId="c64b3fe1-2fbf-4408-adc4-30add62e991f" providerId="ADAL" clId="{CEDD6EA2-EECD-493A-A37C-E0006BFF8DD1}" dt="2024-09-03T13:45:48.148" v="17" actId="47"/>
      <pc:docMkLst>
        <pc:docMk/>
      </pc:docMkLst>
      <pc:sldChg chg="modSp mod modShow">
        <pc:chgData name="vonWaldow, Ulrich" userId="c64b3fe1-2fbf-4408-adc4-30add62e991f" providerId="ADAL" clId="{CEDD6EA2-EECD-493A-A37C-E0006BFF8DD1}" dt="2024-09-03T13:36:39.479" v="15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</pc:docChg>
  </pc:docChgLst>
  <pc:docChgLst>
    <pc:chgData name="vonWaldow, Ulrich" userId="c64b3fe1-2fbf-4408-adc4-30add62e991f" providerId="ADAL" clId="{084EB433-4E08-4533-939C-B516DB27A75A}"/>
    <pc:docChg chg="undo custSel addSld delSld modSld modMainMaster">
      <pc:chgData name="vonWaldow, Ulrich" userId="c64b3fe1-2fbf-4408-adc4-30add62e991f" providerId="ADAL" clId="{084EB433-4E08-4533-939C-B516DB27A75A}" dt="2024-09-09T12:31:10.291" v="60" actId="20577"/>
      <pc:docMkLst>
        <pc:docMk/>
      </pc:docMkLst>
      <pc:sldChg chg="modSp mod">
        <pc:chgData name="vonWaldow, Ulrich" userId="c64b3fe1-2fbf-4408-adc4-30add62e991f" providerId="ADAL" clId="{084EB433-4E08-4533-939C-B516DB27A75A}" dt="2024-09-09T12:31:10.291" v="60" actId="20577"/>
        <pc:sldMkLst>
          <pc:docMk/>
          <pc:sldMk cId="2116952522" sldId="260"/>
        </pc:sldMkLst>
        <pc:spChg chg="mod">
          <ac:chgData name="vonWaldow, Ulrich" userId="c64b3fe1-2fbf-4408-adc4-30add62e991f" providerId="ADAL" clId="{084EB433-4E08-4533-939C-B516DB27A75A}" dt="2024-09-06T08:55:40.029" v="52" actId="20577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084EB433-4E08-4533-939C-B516DB27A75A}" dt="2024-09-06T08:55:35.133" v="35" actId="20577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084EB433-4E08-4533-939C-B516DB27A75A}" dt="2024-09-09T12:31:10.291" v="60" actId="20577"/>
          <ac:spMkLst>
            <pc:docMk/>
            <pc:sldMk cId="2116952522" sldId="260"/>
            <ac:spMk id="6" creationId="{1CE36457-C1FA-C38E-001A-01F11268510F}"/>
          </ac:spMkLst>
        </pc:spChg>
      </pc:sldChg>
      <pc:sldChg chg="new del">
        <pc:chgData name="vonWaldow, Ulrich" userId="c64b3fe1-2fbf-4408-adc4-30add62e991f" providerId="ADAL" clId="{084EB433-4E08-4533-939C-B516DB27A75A}" dt="2024-09-04T08:40:36.912" v="10" actId="47"/>
        <pc:sldMkLst>
          <pc:docMk/>
          <pc:sldMk cId="864981954" sldId="261"/>
        </pc:sldMkLst>
      </pc:sldChg>
      <pc:sldMasterChg chg="delSldLayout modSldLayout">
        <pc:chgData name="vonWaldow, Ulrich" userId="c64b3fe1-2fbf-4408-adc4-30add62e991f" providerId="ADAL" clId="{084EB433-4E08-4533-939C-B516DB27A75A}" dt="2024-09-06T08:56:23.957" v="56" actId="404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084EB433-4E08-4533-939C-B516DB27A75A}" dt="2024-09-06T08:56:23.957" v="56" actId="404"/>
          <pc:sldLayoutMkLst>
            <pc:docMk/>
            <pc:sldMasterMk cId="3620642421" sldId="2147483927"/>
            <pc:sldLayoutMk cId="960772129" sldId="2147483958"/>
          </pc:sldLayoutMkLst>
          <pc:spChg chg="mod">
            <ac:chgData name="vonWaldow, Ulrich" userId="c64b3fe1-2fbf-4408-adc4-30add62e991f" providerId="ADAL" clId="{084EB433-4E08-4533-939C-B516DB27A75A}" dt="2024-09-03T13:46:59.899" v="6"/>
            <ac:spMkLst>
              <pc:docMk/>
              <pc:sldMasterMk cId="3620642421" sldId="2147483927"/>
              <pc:sldLayoutMk cId="960772129" sldId="2147483958"/>
              <ac:spMk id="3" creationId="{95E970B6-3998-A5AF-6789-D415965D6A89}"/>
            </ac:spMkLst>
          </pc:spChg>
          <pc:spChg chg="mod">
            <ac:chgData name="vonWaldow, Ulrich" userId="c64b3fe1-2fbf-4408-adc4-30add62e991f" providerId="ADAL" clId="{084EB433-4E08-4533-939C-B516DB27A75A}" dt="2024-09-06T08:56:16.733" v="53" actId="404"/>
            <ac:spMkLst>
              <pc:docMk/>
              <pc:sldMasterMk cId="3620642421" sldId="2147483927"/>
              <pc:sldLayoutMk cId="960772129" sldId="2147483958"/>
              <ac:spMk id="20" creationId="{CCC1D9B0-3E3B-6A81-82B1-B48232D64945}"/>
            </ac:spMkLst>
          </pc:spChg>
          <pc:spChg chg="mod">
            <ac:chgData name="vonWaldow, Ulrich" userId="c64b3fe1-2fbf-4408-adc4-30add62e991f" providerId="ADAL" clId="{084EB433-4E08-4533-939C-B516DB27A75A}" dt="2024-09-06T08:56:18.877" v="54" actId="404"/>
            <ac:spMkLst>
              <pc:docMk/>
              <pc:sldMasterMk cId="3620642421" sldId="2147483927"/>
              <pc:sldLayoutMk cId="960772129" sldId="2147483958"/>
              <ac:spMk id="23" creationId="{CA377B26-3BA2-4654-6FCA-6098BB9E0117}"/>
            </ac:spMkLst>
          </pc:spChg>
          <pc:spChg chg="mod">
            <ac:chgData name="vonWaldow, Ulrich" userId="c64b3fe1-2fbf-4408-adc4-30add62e991f" providerId="ADAL" clId="{084EB433-4E08-4533-939C-B516DB27A75A}" dt="2024-09-06T08:56:21.569" v="55" actId="404"/>
            <ac:spMkLst>
              <pc:docMk/>
              <pc:sldMasterMk cId="3620642421" sldId="2147483927"/>
              <pc:sldLayoutMk cId="960772129" sldId="2147483958"/>
              <ac:spMk id="25" creationId="{0D6A690C-8E97-EFC0-430C-4028B1A71B84}"/>
            </ac:spMkLst>
          </pc:spChg>
          <pc:spChg chg="mod">
            <ac:chgData name="vonWaldow, Ulrich" userId="c64b3fe1-2fbf-4408-adc4-30add62e991f" providerId="ADAL" clId="{084EB433-4E08-4533-939C-B516DB27A75A}" dt="2024-09-06T08:56:23.957" v="56" actId="404"/>
            <ac:spMkLst>
              <pc:docMk/>
              <pc:sldMasterMk cId="3620642421" sldId="2147483927"/>
              <pc:sldLayoutMk cId="960772129" sldId="2147483958"/>
              <ac:spMk id="31" creationId="{28C3A46C-1471-B32F-D881-A63D1A5126CC}"/>
            </ac:spMkLst>
          </pc:spChg>
          <pc:spChg chg="mod">
            <ac:chgData name="vonWaldow, Ulrich" userId="c64b3fe1-2fbf-4408-adc4-30add62e991f" providerId="ADAL" clId="{084EB433-4E08-4533-939C-B516DB27A75A}" dt="2024-09-03T13:46:50.703" v="4"/>
            <ac:spMkLst>
              <pc:docMk/>
              <pc:sldMasterMk cId="3620642421" sldId="2147483927"/>
              <pc:sldLayoutMk cId="960772129" sldId="2147483958"/>
              <ac:spMk id="52" creationId="{4BD8967D-16E0-5F11-0352-4C03683458DE}"/>
            </ac:spMkLst>
          </pc:spChg>
          <pc:spChg chg="mod">
            <ac:chgData name="vonWaldow, Ulrich" userId="c64b3fe1-2fbf-4408-adc4-30add62e991f" providerId="ADAL" clId="{084EB433-4E08-4533-939C-B516DB27A75A}" dt="2024-09-03T13:46:55.416" v="5"/>
            <ac:spMkLst>
              <pc:docMk/>
              <pc:sldMasterMk cId="3620642421" sldId="2147483927"/>
              <pc:sldLayoutMk cId="960772129" sldId="2147483958"/>
              <ac:spMk id="53" creationId="{5EB6F190-51CC-A0C4-6015-940E4AAD7C94}"/>
            </ac:spMkLst>
          </pc:spChg>
        </pc:sldLayoutChg>
        <pc:sldLayoutChg chg="del">
          <pc:chgData name="vonWaldow, Ulrich" userId="c64b3fe1-2fbf-4408-adc4-30add62e991f" providerId="ADAL" clId="{084EB433-4E08-4533-939C-B516DB27A75A}" dt="2024-09-03T13:46:25.927" v="0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del">
          <pc:chgData name="vonWaldow, Ulrich" userId="c64b3fe1-2fbf-4408-adc4-30add62e991f" providerId="ADAL" clId="{084EB433-4E08-4533-939C-B516DB27A75A}" dt="2024-09-03T13:46:25.945" v="1" actId="2696"/>
          <pc:sldLayoutMkLst>
            <pc:docMk/>
            <pc:sldMasterMk cId="3620642421" sldId="2147483927"/>
            <pc:sldLayoutMk cId="610450036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2000" b="1" kern="0">
                <a:solidFill>
                  <a:schemeClr val="bg1"/>
                </a:solidFill>
                <a:latin typeface="Arial" panose="020B0604020202020204"/>
              </a:rPr>
              <a:t>Potenziale</a:t>
            </a:r>
            <a:endParaRPr lang="de-DE" sz="20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 | Company description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9T12:31:1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